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11"/>
  </p:notesMasterIdLst>
  <p:sldIdLst>
    <p:sldId id="300" r:id="rId3"/>
    <p:sldId id="289" r:id="rId4"/>
    <p:sldId id="299" r:id="rId5"/>
    <p:sldId id="294" r:id="rId6"/>
    <p:sldId id="290" r:id="rId7"/>
    <p:sldId id="292" r:id="rId8"/>
    <p:sldId id="293" r:id="rId9"/>
    <p:sldId id="297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-474" y="-108"/>
      </p:cViewPr>
      <p:guideLst>
        <p:guide orient="horz" pos="216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5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083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2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3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2990" y="186326"/>
            <a:ext cx="1521578" cy="764495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12448" y="5567869"/>
            <a:ext cx="8236916" cy="10185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ealer Name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经销商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名称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XXXX</a:t>
            </a:r>
          </a:p>
          <a:p>
            <a:pPr algn="l">
              <a:lnSpc>
                <a:spcPct val="130000"/>
              </a:lnSpc>
            </a:pP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Event Nam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名称：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XXXX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交车仪式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-X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月</a:t>
            </a:r>
            <a:endParaRPr lang="en-US" altLang="zh-CN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tart 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ate/End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xx-xx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ubmission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提交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xx-xx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8120"/>
            <a:ext cx="12192000" cy="412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5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8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0992327"/>
              </p:ext>
            </p:extLst>
          </p:nvPr>
        </p:nvGraphicFramePr>
        <p:xfrm>
          <a:off x="539749" y="1107029"/>
          <a:ext cx="11079991" cy="29557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933">
                  <a:extLst>
                    <a:ext uri="{9D8B030D-6E8A-4147-A177-3AD203B41FA5}">
                      <a16:colId xmlns="" xmlns:a16="http://schemas.microsoft.com/office/drawing/2014/main" val="1357581311"/>
                    </a:ext>
                  </a:extLst>
                </a:gridCol>
                <a:gridCol w="2706957">
                  <a:extLst>
                    <a:ext uri="{9D8B030D-6E8A-4147-A177-3AD203B41FA5}">
                      <a16:colId xmlns="" xmlns:a16="http://schemas.microsoft.com/office/drawing/2014/main" val="1956442140"/>
                    </a:ext>
                  </a:extLst>
                </a:gridCol>
                <a:gridCol w="1378384">
                  <a:extLst>
                    <a:ext uri="{9D8B030D-6E8A-4147-A177-3AD203B41FA5}">
                      <a16:colId xmlns="" xmlns:a16="http://schemas.microsoft.com/office/drawing/2014/main" val="3122743454"/>
                    </a:ext>
                  </a:extLst>
                </a:gridCol>
                <a:gridCol w="1030714">
                  <a:extLst>
                    <a:ext uri="{9D8B030D-6E8A-4147-A177-3AD203B41FA5}">
                      <a16:colId xmlns="" xmlns:a16="http://schemas.microsoft.com/office/drawing/2014/main" val="755301095"/>
                    </a:ext>
                  </a:extLst>
                </a:gridCol>
                <a:gridCol w="2464037">
                  <a:extLst>
                    <a:ext uri="{9D8B030D-6E8A-4147-A177-3AD203B41FA5}">
                      <a16:colId xmlns="" xmlns:a16="http://schemas.microsoft.com/office/drawing/2014/main" val="2056552446"/>
                    </a:ext>
                  </a:extLst>
                </a:gridCol>
                <a:gridCol w="1574966">
                  <a:extLst>
                    <a:ext uri="{9D8B030D-6E8A-4147-A177-3AD203B41FA5}">
                      <a16:colId xmlns="" xmlns:a16="http://schemas.microsoft.com/office/drawing/2014/main" val="1567976445"/>
                    </a:ext>
                  </a:extLst>
                </a:gridCol>
              </a:tblGrid>
              <a:tr h="313200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总览 </a:t>
                      </a:r>
                      <a:r>
                        <a:rPr lang="en-US" altLang="zh-CN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Over</a:t>
                      </a:r>
                      <a:r>
                        <a:rPr lang="en-US" altLang="zh-CN" sz="1200" baseline="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iew</a:t>
                      </a:r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203583067"/>
                  </a:ext>
                </a:extLst>
              </a:tr>
              <a:tr h="524437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 &amp; Intent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名称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851841494"/>
                  </a:ext>
                </a:extLst>
              </a:tr>
              <a:tr h="486978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参与人数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649553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客户数量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004258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st per n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w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*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069117920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of new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leads created in 2022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48740028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54312"/>
            <a:ext cx="11051852" cy="364291"/>
          </a:xfrm>
        </p:spPr>
        <p:txBody>
          <a:bodyPr vert="horz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7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93723744"/>
              </p:ext>
            </p:extLst>
          </p:nvPr>
        </p:nvGraphicFramePr>
        <p:xfrm>
          <a:off x="587372" y="4245295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=""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=""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Invitation Total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邀请计划总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242880312"/>
                  </a:ext>
                </a:extLst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graphicFrame>
        <p:nvGraphicFramePr>
          <p:cNvPr id="9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6583221"/>
              </p:ext>
            </p:extLst>
          </p:nvPr>
        </p:nvGraphicFramePr>
        <p:xfrm>
          <a:off x="404261" y="1162112"/>
          <a:ext cx="11215482" cy="453969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35571">
                  <a:extLst>
                    <a:ext uri="{9D8B030D-6E8A-4147-A177-3AD203B41FA5}">
                      <a16:colId xmlns="" xmlns:a16="http://schemas.microsoft.com/office/drawing/2014/main" val="2715221625"/>
                    </a:ext>
                  </a:extLst>
                </a:gridCol>
                <a:gridCol w="835571">
                  <a:extLst>
                    <a:ext uri="{9D8B030D-6E8A-4147-A177-3AD203B41FA5}">
                      <a16:colId xmlns="" xmlns:a16="http://schemas.microsoft.com/office/drawing/2014/main" val="1722467380"/>
                    </a:ext>
                  </a:extLst>
                </a:gridCol>
                <a:gridCol w="1132729">
                  <a:extLst>
                    <a:ext uri="{9D8B030D-6E8A-4147-A177-3AD203B41FA5}">
                      <a16:colId xmlns="" xmlns:a16="http://schemas.microsoft.com/office/drawing/2014/main" val="8733085"/>
                    </a:ext>
                  </a:extLst>
                </a:gridCol>
                <a:gridCol w="879661">
                  <a:extLst>
                    <a:ext uri="{9D8B030D-6E8A-4147-A177-3AD203B41FA5}">
                      <a16:colId xmlns="" xmlns:a16="http://schemas.microsoft.com/office/drawing/2014/main" val="2034639721"/>
                    </a:ext>
                  </a:extLst>
                </a:gridCol>
                <a:gridCol w="1924210">
                  <a:extLst>
                    <a:ext uri="{9D8B030D-6E8A-4147-A177-3AD203B41FA5}">
                      <a16:colId xmlns="" xmlns:a16="http://schemas.microsoft.com/office/drawing/2014/main" val="984284813"/>
                    </a:ext>
                  </a:extLst>
                </a:gridCol>
                <a:gridCol w="1597470">
                  <a:extLst>
                    <a:ext uri="{9D8B030D-6E8A-4147-A177-3AD203B41FA5}">
                      <a16:colId xmlns="" xmlns:a16="http://schemas.microsoft.com/office/drawing/2014/main" val="610353967"/>
                    </a:ext>
                  </a:extLst>
                </a:gridCol>
                <a:gridCol w="1206400">
                  <a:extLst>
                    <a:ext uri="{9D8B030D-6E8A-4147-A177-3AD203B41FA5}">
                      <a16:colId xmlns="" xmlns:a16="http://schemas.microsoft.com/office/drawing/2014/main" val="2199988680"/>
                    </a:ext>
                  </a:extLst>
                </a:gridCol>
                <a:gridCol w="921453">
                  <a:extLst>
                    <a:ext uri="{9D8B030D-6E8A-4147-A177-3AD203B41FA5}">
                      <a16:colId xmlns="" xmlns:a16="http://schemas.microsoft.com/office/drawing/2014/main" val="1060807198"/>
                    </a:ext>
                  </a:extLst>
                </a:gridCol>
                <a:gridCol w="1882417">
                  <a:extLst>
                    <a:ext uri="{9D8B030D-6E8A-4147-A177-3AD203B41FA5}">
                      <a16:colId xmlns="" xmlns:a16="http://schemas.microsoft.com/office/drawing/2014/main" val="3687281855"/>
                    </a:ext>
                  </a:extLst>
                </a:gridCol>
              </a:tblGrid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 Overview </a:t>
                      </a:r>
                      <a:r>
                        <a:rPr lang="zh-CN" altLang="en-US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3226044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Budget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45492585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815440894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zh-CN" alt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44899817"/>
                  </a:ext>
                </a:extLst>
              </a:tr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</a:t>
                      </a:r>
                      <a:r>
                        <a:rPr lang="en-US" altLang="zh-CN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Detail </a:t>
                      </a:r>
                      <a:r>
                        <a:rPr lang="zh-CN" altLang="en-US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详情</a:t>
                      </a:r>
                      <a:endParaRPr lang="en-US" altLang="zh-CN" sz="1200" b="1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268840849"/>
                  </a:ext>
                </a:extLst>
              </a:tr>
              <a:tr h="398648"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8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lang="en-US" altLang="zh-CN" sz="8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kumimoji="0" lang="en-US" altLang="zh-CN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kumimoji="0" lang="en-US" altLang="zh-CN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41501689"/>
                  </a:ext>
                </a:extLst>
              </a:tr>
              <a:tr h="643969">
                <a:tc gridSpan="2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nue Rental 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场地租赁</a:t>
                      </a:r>
                    </a:p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zh-CN" altLang="en-US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hotograph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75075753"/>
                  </a:ext>
                </a:extLst>
              </a:tr>
              <a:tr h="879104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etup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搭建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18738132"/>
                  </a:ext>
                </a:extLst>
              </a:tr>
              <a:tr h="398648">
                <a:tc row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atering    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费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92001067"/>
                  </a:ext>
                </a:extLst>
              </a:tr>
              <a:tr h="3986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酒水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564902271"/>
                  </a:ext>
                </a:extLst>
              </a:tr>
            </a:tbl>
          </a:graphicData>
        </a:graphic>
      </p:graphicFrame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87234"/>
            <a:ext cx="11048532" cy="474878"/>
          </a:xfrm>
        </p:spPr>
        <p:txBody>
          <a:bodyPr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Monthly Handover Ceremony Plan |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本月交车仪式安排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6472019"/>
              </p:ext>
            </p:extLst>
          </p:nvPr>
        </p:nvGraphicFramePr>
        <p:xfrm>
          <a:off x="587141" y="1234463"/>
          <a:ext cx="11032602" cy="42866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8595">
                  <a:extLst>
                    <a:ext uri="{9D8B030D-6E8A-4147-A177-3AD203B41FA5}">
                      <a16:colId xmlns="" xmlns:a16="http://schemas.microsoft.com/office/drawing/2014/main" val="207362988"/>
                    </a:ext>
                  </a:extLst>
                </a:gridCol>
                <a:gridCol w="221326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55616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634579">
                  <a:extLst>
                    <a:ext uri="{9D8B030D-6E8A-4147-A177-3AD203B41FA5}">
                      <a16:colId xmlns="" xmlns:a16="http://schemas.microsoft.com/office/drawing/2014/main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</a:t>
                      </a:r>
                      <a:r>
                        <a:rPr lang="en-US" altLang="zh-CN" sz="1400" b="1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Highlight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主要亮点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6630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1</a:t>
                      </a: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2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3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4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5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6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7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8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593430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如本月全部交车活动均在展厅中进行</a:t>
              </a: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，</a:t>
              </a: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提供</a:t>
              </a:r>
              <a:r>
                <a:rPr lang="zh-CN" altLang="en-US" sz="2800" b="1" u="sng" dirty="0">
                  <a:solidFill>
                    <a:srgbClr val="232323"/>
                  </a:solidFill>
                  <a:cs typeface="+mn-ea"/>
                  <a:sym typeface="+mn-lt"/>
                </a:rPr>
                <a:t>展厅</a:t>
              </a: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实景照片即可；</a:t>
              </a:r>
              <a:endParaRPr lang="en-US" altLang="zh-CN" sz="2000" dirty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如</a:t>
              </a: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本月交车活动涉及其他场地</a:t>
              </a: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，</a:t>
              </a: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请提供</a:t>
              </a:r>
              <a:r>
                <a:rPr lang="zh-CN" altLang="en-US" sz="2800" b="1" u="sng" dirty="0">
                  <a:solidFill>
                    <a:srgbClr val="232323"/>
                  </a:solidFill>
                  <a:cs typeface="+mn-ea"/>
                  <a:sym typeface="+mn-lt"/>
                </a:rPr>
                <a:t>交车场地</a:t>
              </a: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内外部实景</a:t>
              </a: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照片</a:t>
              </a: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（如为客户私人住所可不提供照片）</a:t>
              </a:r>
              <a:endParaRPr lang="zh-CN" altLang="en-US" sz="2000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430694" y="1838424"/>
            <a:ext cx="4888615" cy="4119614"/>
          </a:xfrm>
          <a:prstGeom prst="rect">
            <a:avLst/>
          </a:prstGeom>
          <a:noFill/>
          <a:ln>
            <a:solidFill>
              <a:srgbClr val="00321F"/>
            </a:solidFill>
            <a:prstDash val="lgDash"/>
          </a:ln>
        </p:spPr>
        <p:txBody>
          <a:bodyPr wrap="square" lIns="85451" rIns="85451" rtlCol="0" anchor="t">
            <a:noAutofit/>
          </a:bodyPr>
          <a:lstStyle/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场地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基础信息：地点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容量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选择</a:t>
            </a: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理由</a:t>
            </a: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如果是展厅，不需要提供理由，改成展厅局部照片</a:t>
            </a: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如果是外面场地，介绍下选择理由</a:t>
            </a: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Venue basic information: area / capacity / why selection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选择理由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0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558263" y="1150394"/>
            <a:ext cx="11061479" cy="516377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如本月交车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活动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有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多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个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不同主视觉设计，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请全部提供并确保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及时在活动开始前通过</a:t>
            </a:r>
            <a:r>
              <a:rPr lang="en-US" altLang="zh-CN" sz="2000" dirty="0" err="1">
                <a:solidFill>
                  <a:srgbClr val="232323"/>
                </a:solidFill>
                <a:cs typeface="+mn-ea"/>
                <a:sym typeface="+mn-lt"/>
              </a:rPr>
              <a:t>MarCom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审核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（相同模板提交一次即可）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en-US" altLang="zh-CN" sz="2000" dirty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如果无主视觉，可以删除本页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rand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R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presentation – KV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活动主视觉或背板设计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6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177026" y="5834618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Setup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布置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效果图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方案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hotograph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摄影摄像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作品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可以是多幅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介绍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</TotalTime>
  <Words>488</Words>
  <Application>Microsoft Office PowerPoint</Application>
  <PresentationFormat>自定义</PresentationFormat>
  <Paragraphs>124</Paragraphs>
  <Slides>8</Slides>
  <Notes>5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1" baseType="lpstr">
      <vt:lpstr>3_Office Theme</vt:lpstr>
      <vt:lpstr>4_Office Theme</vt:lpstr>
      <vt:lpstr>think-cell Slide</vt:lpstr>
      <vt:lpstr>PowerPoint 演示文稿</vt:lpstr>
      <vt:lpstr>Overview 概述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Think</cp:lastModifiedBy>
  <cp:revision>54</cp:revision>
  <dcterms:created xsi:type="dcterms:W3CDTF">2022-02-15T07:41:51Z</dcterms:created>
  <dcterms:modified xsi:type="dcterms:W3CDTF">2022-04-05T14:24:50Z</dcterms:modified>
</cp:coreProperties>
</file>